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7" d="100"/>
          <a:sy n="77" d="100"/>
        </p:scale>
        <p:origin x="797" y="6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6/11/relationships/changesInfo" Target="changesInfos/changesInfo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nnis Lam" userId="b03a39e68183e059" providerId="LiveId" clId="{C3446453-D785-4DC0-B132-C355E43FF68D}"/>
    <pc:docChg chg="modSld">
      <pc:chgData name="Dennis Lam" userId="b03a39e68183e059" providerId="LiveId" clId="{C3446453-D785-4DC0-B132-C355E43FF68D}" dt="2020-12-27T02:52:54.154" v="482" actId="20577"/>
      <pc:docMkLst>
        <pc:docMk/>
      </pc:docMkLst>
      <pc:sldChg chg="modSp mod">
        <pc:chgData name="Dennis Lam" userId="b03a39e68183e059" providerId="LiveId" clId="{C3446453-D785-4DC0-B132-C355E43FF68D}" dt="2020-12-27T02:52:54.154" v="482" actId="20577"/>
        <pc:sldMkLst>
          <pc:docMk/>
          <pc:sldMk cId="3669319244" sldId="362"/>
        </pc:sldMkLst>
        <pc:spChg chg="mod">
          <ac:chgData name="Dennis Lam" userId="b03a39e68183e059" providerId="LiveId" clId="{C3446453-D785-4DC0-B132-C355E43FF68D}" dt="2020-12-27T02:52:54.154" v="482" actId="20577"/>
          <ac:spMkLst>
            <pc:docMk/>
            <pc:sldMk cId="3669319244" sldId="362"/>
            <ac:spMk id="4" creationId="{0E5F306D-D033-0749-8A8A-0FBDE0003FE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27/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27/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F175E5EF-88C5-8540-8908-177466FA5B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8966"/>
            <a:ext cx="6352558" cy="6370982"/>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2400" dirty="0">
                <a:solidFill>
                  <a:schemeClr val="tx1">
                    <a:lumMod val="100000"/>
                  </a:schemeClr>
                </a:solidFill>
                <a:latin typeface="Trebuchet MS" panose="020B0703020202090204" pitchFamily="34" charset="0"/>
              </a:rPr>
              <a:t>Power Subscription and Gas influence on churn</a:t>
            </a:r>
          </a:p>
          <a:p>
            <a:pPr marL="108000" lvl="1" indent="0">
              <a:buClr>
                <a:schemeClr val="tx2">
                  <a:lumMod val="100000"/>
                </a:schemeClr>
              </a:buClr>
              <a:buSzPct val="100000"/>
              <a:buFont typeface="Arial" panose="020B0604020202020204" pitchFamily="34" charset="0"/>
              <a:buNone/>
            </a:pPr>
            <a:endParaRPr lang="en-US" sz="20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By applying statistical tests, the results are significant at p-value = 0.05</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2400" dirty="0">
                <a:solidFill>
                  <a:schemeClr val="tx1">
                    <a:lumMod val="100000"/>
                  </a:schemeClr>
                </a:solidFill>
                <a:latin typeface="Trebuchet MS" panose="020B0703020202090204" pitchFamily="34" charset="0"/>
              </a:rPr>
              <a:t>Machine Learning Model Results</a:t>
            </a:r>
          </a:p>
          <a:p>
            <a:pPr marL="108000" lvl="1" indent="0">
              <a:buClr>
                <a:schemeClr val="tx2">
                  <a:lumMod val="100000"/>
                </a:schemeClr>
              </a:buClr>
              <a:buSzPct val="100000"/>
              <a:buNone/>
            </a:pPr>
            <a:endParaRPr lang="en-US" sz="24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Overall results are around 60% which is not satisfactory due to 10% churn rate of existing customers. Need to factor in any additional outside factors into the model.</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2400" dirty="0">
                <a:solidFill>
                  <a:schemeClr val="tx1">
                    <a:lumMod val="100000"/>
                  </a:schemeClr>
                </a:solidFill>
                <a:latin typeface="Trebuchet MS" panose="020B0703020202090204" pitchFamily="34" charset="0"/>
              </a:rPr>
              <a:t>Model Finding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800" dirty="0">
                <a:solidFill>
                  <a:schemeClr val="tx1">
                    <a:lumMod val="100000"/>
                  </a:schemeClr>
                </a:solidFill>
                <a:latin typeface="Trebuchet MS" panose="020B0703020202090204" pitchFamily="34" charset="0"/>
              </a:rPr>
              <a:t>Electricity consumption and total net margin are two main factors </a:t>
            </a:r>
            <a:r>
              <a:rPr lang="en-US" sz="1800">
                <a:solidFill>
                  <a:schemeClr val="tx1">
                    <a:lumMod val="100000"/>
                  </a:schemeClr>
                </a:solidFill>
                <a:latin typeface="Trebuchet MS" panose="020B0703020202090204" pitchFamily="34" charset="0"/>
              </a:rPr>
              <a:t>affecting churn</a:t>
            </a:r>
            <a:endParaRPr lang="en-US" sz="18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9</TotalTime>
  <Words>77</Words>
  <Application>Microsoft Office PowerPoint</Application>
  <PresentationFormat>Widescreen</PresentationFormat>
  <Paragraphs>17</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Dennis Lam</cp:lastModifiedBy>
  <cp:revision>447</cp:revision>
  <cp:lastPrinted>2016-04-06T18:59:25Z</cp:lastPrinted>
  <dcterms:created xsi:type="dcterms:W3CDTF">2016-11-04T11:46:04Z</dcterms:created>
  <dcterms:modified xsi:type="dcterms:W3CDTF">2020-12-27T02:5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